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notesSlides/notesSlide5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3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4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5.xml" ContentType="application/vnd.openxmlformats-officedocument.presentationml.notesSlide+xml"/>
  <Override PartName="/ppt/tags/tag93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  <p:sldMasterId id="2147483930" r:id="rId2"/>
  </p:sldMasterIdLst>
  <p:notesMasterIdLst>
    <p:notesMasterId r:id="rId22"/>
  </p:notesMasterIdLst>
  <p:handoutMasterIdLst>
    <p:handoutMasterId r:id="rId23"/>
  </p:handoutMasterIdLst>
  <p:sldIdLst>
    <p:sldId id="1682" r:id="rId3"/>
    <p:sldId id="1705" r:id="rId4"/>
    <p:sldId id="1720" r:id="rId5"/>
    <p:sldId id="1721" r:id="rId6"/>
    <p:sldId id="1725" r:id="rId7"/>
    <p:sldId id="1706" r:id="rId8"/>
    <p:sldId id="1707" r:id="rId9"/>
    <p:sldId id="1711" r:id="rId10"/>
    <p:sldId id="1716" r:id="rId11"/>
    <p:sldId id="1726" r:id="rId12"/>
    <p:sldId id="1727" r:id="rId13"/>
    <p:sldId id="1728" r:id="rId14"/>
    <p:sldId id="1719" r:id="rId15"/>
    <p:sldId id="1729" r:id="rId16"/>
    <p:sldId id="1715" r:id="rId17"/>
    <p:sldId id="1730" r:id="rId18"/>
    <p:sldId id="1724" r:id="rId19"/>
    <p:sldId id="1723" r:id="rId20"/>
    <p:sldId id="1685" r:id="rId21"/>
  </p:sldIdLst>
  <p:sldSz cx="8961438" cy="6721475"/>
  <p:notesSz cx="6797675" cy="9928225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517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619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9722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68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000099"/>
    <a:srgbClr val="0033CC"/>
    <a:srgbClr val="0000FF"/>
    <a:srgbClr val="006CE1"/>
    <a:srgbClr val="5591D7"/>
    <a:srgbClr val="B8D0ED"/>
    <a:srgbClr val="003399"/>
    <a:srgbClr val="FF99CC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88457" autoAdjust="0"/>
  </p:normalViewPr>
  <p:slideViewPr>
    <p:cSldViewPr snapToObjects="1">
      <p:cViewPr varScale="1">
        <p:scale>
          <a:sx n="100" d="100"/>
          <a:sy n="100" d="100"/>
        </p:scale>
        <p:origin x="2058" y="60"/>
      </p:cViewPr>
      <p:guideLst>
        <p:guide orient="horz" pos="756"/>
        <p:guide pos="1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-2190" y="-78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6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6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1EBD3FE0-EBF8-43F9-984D-4A45B2E50E5A}" type="datetime1">
              <a:rPr lang="en-US"/>
              <a:pPr>
                <a:defRPr/>
              </a:pPr>
              <a:t>2/6/2018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34512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34512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37279F9-CB82-41F8-BDF1-4BC50FA28C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7455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788" y="9463675"/>
            <a:ext cx="539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2055">
              <a:defRPr sz="11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86FD053-2A55-44C2-AE6A-1609DFEB47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579" name="McK Separator" hidden="1"/>
          <p:cNvSpPr>
            <a:spLocks noChangeShapeType="1"/>
          </p:cNvSpPr>
          <p:nvPr/>
        </p:nvSpPr>
        <p:spPr bwMode="auto">
          <a:xfrm>
            <a:off x="815976" y="1504950"/>
            <a:ext cx="5197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2125" tIns="46062" rIns="92125" bIns="46062"/>
          <a:lstStyle/>
          <a:p>
            <a:endParaRPr lang="ru-RU"/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3238" y="328613"/>
            <a:ext cx="6010275" cy="450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5" tIns="46062" rIns="92125" bIns="46062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>
          <a:xfrm>
            <a:off x="447675" y="5011739"/>
            <a:ext cx="6121400" cy="4367213"/>
          </a:xfrm>
          <a:prstGeom prst="rect">
            <a:avLst/>
          </a:prstGeom>
        </p:spPr>
        <p:txBody>
          <a:bodyPr vert="horz" lIns="92125" tIns="46062" rIns="92125" bIns="46062" rtlCol="0">
            <a:normAutofit/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4769235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1206" indent="-28410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1171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98274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5378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4063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874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686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500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46125"/>
            <a:ext cx="4960938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41" y="4713290"/>
            <a:ext cx="5438775" cy="44704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4706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36305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91466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67" y="20574002"/>
            <a:ext cx="2555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893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321158C-280E-4753-8E6F-1F6B80C8FAD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937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80675" y="2728913"/>
            <a:ext cx="24130000" cy="180975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4047276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536784-DF72-4067-B060-BF815DB19C4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3708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536784-DF72-4067-B060-BF815DB19C4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6722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18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350838"/>
            <a:ext cx="5291138" cy="3968750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23901" y="4513265"/>
            <a:ext cx="5534025" cy="48847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45028" y="46753"/>
            <a:ext cx="17809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19788" y="9460986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18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823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136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953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7613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73197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7665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74960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351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2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КОНФИДЕНЦИАЛЬНО</a:t>
              </a:r>
              <a:endParaRPr lang="en-US" sz="1400" smtClean="0"/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Тип документа</a:t>
              </a:r>
              <a:endParaRPr lang="en-US" sz="1400" smtClean="0"/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Дата</a:t>
              </a:r>
              <a:endParaRPr lang="en-US" sz="1400" smtClean="0"/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104" eaLnBrk="0" hangingPunct="0"/>
              <a:r>
                <a:rPr lang="ru-RU" sz="900"/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3104" eaLnBrk="0" hangingPunct="0"/>
              <a:endParaRPr lang="ru-RU" sz="900"/>
            </a:p>
            <a:p>
              <a:pPr defTabSz="803104" eaLnBrk="0" hangingPunct="0"/>
              <a:r>
                <a:rPr lang="ru-RU" sz="900"/>
                <a:t>Настоящий отчет был использован консультантами </a:t>
              </a:r>
              <a:br>
                <a:rPr lang="ru-RU" sz="900"/>
              </a:br>
              <a:r>
                <a:rPr lang="ru-RU" sz="900"/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93573">
              <a:buSzPct val="120000"/>
            </a:pPr>
            <a:r>
              <a:rPr lang="en-US" sz="1400"/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2" y="582613"/>
            <a:ext cx="39989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2" y="800100"/>
            <a:ext cx="35718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24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24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956663" y="36515"/>
            <a:ext cx="1780937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30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8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84204-264A-4AE8-8F85-FBE23A6D3C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3411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96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96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495B0-9386-4583-A41C-DB6C2EE988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61297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3CE58D-E0EA-4D79-990D-B32A844F1B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08632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40"/>
            <a:ext cx="6273007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47868" indent="0" algn="ctr">
              <a:buNone/>
              <a:defRPr/>
            </a:lvl2pPr>
            <a:lvl3pPr marL="895732" indent="0" algn="ctr">
              <a:buNone/>
              <a:defRPr/>
            </a:lvl3pPr>
            <a:lvl4pPr marL="1343600" indent="0" algn="ctr">
              <a:buNone/>
              <a:defRPr/>
            </a:lvl4pPr>
            <a:lvl5pPr marL="1791465" indent="0" algn="ctr">
              <a:buNone/>
              <a:defRPr/>
            </a:lvl5pPr>
            <a:lvl6pPr marL="2239331" indent="0" algn="ctr">
              <a:buNone/>
              <a:defRPr/>
            </a:lvl6pPr>
            <a:lvl7pPr marL="2687196" indent="0" algn="ctr">
              <a:buNone/>
              <a:defRPr/>
            </a:lvl7pPr>
            <a:lvl8pPr marL="3135063" indent="0" algn="ctr">
              <a:buNone/>
              <a:defRPr/>
            </a:lvl8pPr>
            <a:lvl9pPr marL="358292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6DAD1E5-0FA8-4A0C-9374-DD4A44C27A49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454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41A07BA-25F7-41D2-83FD-7EACE741B2B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493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600164"/>
          </a:xfrm>
        </p:spPr>
        <p:txBody>
          <a:bodyPr/>
          <a:lstStyle>
            <a:lvl1pPr algn="l">
              <a:defRPr sz="392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11393"/>
            <a:ext cx="7617222" cy="307777"/>
          </a:xfrm>
        </p:spPr>
        <p:txBody>
          <a:bodyPr anchor="b"/>
          <a:lstStyle>
            <a:lvl1pPr marL="0" indent="0">
              <a:buNone/>
              <a:defRPr sz="1960"/>
            </a:lvl1pPr>
            <a:lvl2pPr marL="447868" indent="0">
              <a:buNone/>
              <a:defRPr sz="1764"/>
            </a:lvl2pPr>
            <a:lvl3pPr marL="895732" indent="0">
              <a:buNone/>
              <a:defRPr sz="1568"/>
            </a:lvl3pPr>
            <a:lvl4pPr marL="1343600" indent="0">
              <a:buNone/>
              <a:defRPr sz="1372"/>
            </a:lvl4pPr>
            <a:lvl5pPr marL="1791465" indent="0">
              <a:buNone/>
              <a:defRPr sz="1372"/>
            </a:lvl5pPr>
            <a:lvl6pPr marL="2239331" indent="0">
              <a:buNone/>
              <a:defRPr sz="1372"/>
            </a:lvl6pPr>
            <a:lvl7pPr marL="2687196" indent="0">
              <a:buNone/>
              <a:defRPr sz="1372"/>
            </a:lvl7pPr>
            <a:lvl8pPr marL="3135063" indent="0">
              <a:buNone/>
              <a:defRPr sz="1372"/>
            </a:lvl8pPr>
            <a:lvl9pPr marL="3582929" indent="0">
              <a:buNone/>
              <a:defRPr sz="137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6B85B55C-7AE2-461B-A2DA-C80E21FCB8D1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441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914" y="1272724"/>
            <a:ext cx="4233345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5612" y="1272724"/>
            <a:ext cx="4234902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0FBB79BC-3EF5-4BD2-B5BD-2A1FA3988A2B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603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6" y="1762247"/>
            <a:ext cx="3959525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6" y="2131579"/>
            <a:ext cx="3959525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9" y="1762247"/>
            <a:ext cx="3961080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4F9B202-D87F-4F6F-A09A-5067A4664305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555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126B1D-383F-47F5-BC73-71E087802C9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784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283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25C5B-5CCA-4C53-A0A8-27006CFEE7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51726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7" y="1098754"/>
            <a:ext cx="2948251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9"/>
            <a:ext cx="5009693" cy="1877437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7" y="1406531"/>
            <a:ext cx="2948251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016F238-48EA-4A32-8D4E-947C8D92CDE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660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952711"/>
            <a:ext cx="5376863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80"/>
            <a:ext cx="5376863" cy="482640"/>
          </a:xfrm>
        </p:spPr>
        <p:txBody>
          <a:bodyPr/>
          <a:lstStyle>
            <a:lvl1pPr marL="0" indent="0">
              <a:buNone/>
              <a:defRPr sz="3136"/>
            </a:lvl1pPr>
            <a:lvl2pPr marL="447868" indent="0">
              <a:buNone/>
              <a:defRPr sz="2744"/>
            </a:lvl2pPr>
            <a:lvl3pPr marL="895732" indent="0">
              <a:buNone/>
              <a:defRPr sz="2352"/>
            </a:lvl3pPr>
            <a:lvl4pPr marL="1343600" indent="0">
              <a:buNone/>
              <a:defRPr sz="1960"/>
            </a:lvl4pPr>
            <a:lvl5pPr marL="1791465" indent="0">
              <a:buNone/>
              <a:defRPr sz="1960"/>
            </a:lvl5pPr>
            <a:lvl6pPr marL="2239331" indent="0">
              <a:buNone/>
              <a:defRPr sz="1960"/>
            </a:lvl6pPr>
            <a:lvl7pPr marL="2687196" indent="0">
              <a:buNone/>
              <a:defRPr sz="1960"/>
            </a:lvl7pPr>
            <a:lvl8pPr marL="3135063" indent="0">
              <a:buNone/>
              <a:defRPr sz="1960"/>
            </a:lvl8pPr>
            <a:lvl9pPr marL="3582929" indent="0">
              <a:buNone/>
              <a:defRPr sz="196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BDF49D63-C4FC-4EA5-AC7F-97B85AB5201D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278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45110" y="1272724"/>
            <a:ext cx="2895408" cy="12311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A93AD81-D841-48CF-894F-652FE4295B6E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05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67412" y="230273"/>
            <a:ext cx="573106" cy="224049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88668" y="230273"/>
            <a:ext cx="1447704" cy="224049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E28F88D-E50B-4ACB-96AA-885643506BD4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940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48B1E572-164D-4445-8090-4AD5AA79BCB6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32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86C42D-A9AB-45C0-8A1F-9CDB99713A6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297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798" y="230273"/>
            <a:ext cx="862071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D79A785-2358-4381-8259-ABB9501E11C7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278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33" y="4319592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33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08" indent="0">
              <a:buNone/>
              <a:defRPr sz="1800"/>
            </a:lvl2pPr>
            <a:lvl3pPr marL="913626" indent="0">
              <a:buNone/>
              <a:defRPr sz="1600"/>
            </a:lvl3pPr>
            <a:lvl4pPr marL="1370439" indent="0">
              <a:buNone/>
              <a:defRPr sz="1400"/>
            </a:lvl4pPr>
            <a:lvl5pPr marL="1827249" indent="0">
              <a:buNone/>
              <a:defRPr sz="1400"/>
            </a:lvl5pPr>
            <a:lvl6pPr marL="2284063" indent="0">
              <a:buNone/>
              <a:defRPr sz="1400"/>
            </a:lvl6pPr>
            <a:lvl7pPr marL="2740874" indent="0">
              <a:buNone/>
              <a:defRPr sz="1400"/>
            </a:lvl7pPr>
            <a:lvl8pPr marL="3197686" indent="0">
              <a:buNone/>
              <a:defRPr sz="1400"/>
            </a:lvl8pPr>
            <a:lvl9pPr marL="36545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7EC6C5-5FB1-49B1-8C0F-1C2860CF27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48605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85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85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D17-346A-4F0B-9234-8B52DD737C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88148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83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83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83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EF79A-56FA-4672-9A75-FDE8EB8625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4588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A63C6-9C02-4028-86CB-06FF0F693D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10694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5D4D1-B809-4E92-9A64-4E9C363483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71865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85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85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BE896F-2788-47EC-8FCC-2FC84F5CE9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357998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6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85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6808" indent="0">
              <a:buNone/>
              <a:defRPr sz="2800"/>
            </a:lvl2pPr>
            <a:lvl3pPr marL="913626" indent="0">
              <a:buNone/>
              <a:defRPr sz="2400"/>
            </a:lvl3pPr>
            <a:lvl4pPr marL="1370439" indent="0">
              <a:buNone/>
              <a:defRPr sz="2000"/>
            </a:lvl4pPr>
            <a:lvl5pPr marL="1827249" indent="0">
              <a:buNone/>
              <a:defRPr sz="2000"/>
            </a:lvl5pPr>
            <a:lvl6pPr marL="2284063" indent="0">
              <a:buNone/>
              <a:defRPr sz="2000"/>
            </a:lvl6pPr>
            <a:lvl7pPr marL="2740874" indent="0">
              <a:buNone/>
              <a:defRPr sz="2000"/>
            </a:lvl7pPr>
            <a:lvl8pPr marL="3197686" indent="0">
              <a:buNone/>
              <a:defRPr sz="2000"/>
            </a:lvl8pPr>
            <a:lvl9pPr marL="36545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38068-F28E-4B80-8B15-78E1C59127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4653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41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40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42.xml"/><Relationship Id="rId27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48" y="-22225"/>
            <a:ext cx="8963025" cy="236538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6"/>
            <a:ext cx="2559050" cy="23495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3D75A6D-181E-4DE3-B7D7-D4B063229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5" y="230190"/>
            <a:ext cx="86185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40" y="1273177"/>
            <a:ext cx="8618537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240" y="531815"/>
            <a:ext cx="8618537" cy="6167437"/>
            <a:chOff x="77" y="335"/>
            <a:chExt cx="5429" cy="3885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/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04863" indent="-804863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</a:t>
              </a:r>
              <a:r>
                <a:rPr lang="en-US" smtClean="0">
                  <a:solidFill>
                    <a:srgbClr val="000000"/>
                  </a:solidFill>
                </a:rPr>
                <a:t>*</a:t>
              </a:r>
              <a:r>
                <a:rPr lang="ru-RU" smtClean="0">
                  <a:solidFill>
                    <a:srgbClr val="000000"/>
                  </a:solidFill>
                </a:rPr>
                <a:t>	Сноска</a:t>
              </a:r>
              <a:endParaRPr lang="en-US" smtClean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r>
                <a:rPr lang="en-US" smtClean="0">
                  <a:solidFill>
                    <a:srgbClr val="000000"/>
                  </a:solidFill>
                </a:rPr>
                <a:t>:</a:t>
              </a: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6" y="2710658"/>
            <a:ext cx="17287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6"/>
            <a:ext cx="97631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0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</p:sldLayoutIdLst>
  <p:hf hdr="0" ftr="0" dt="0"/>
  <p:txStyles>
    <p:titleStyle>
      <a:lvl1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08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626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43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24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241" indent="-341241" algn="l" defTabSz="893573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2845" indent="-141258" algn="l" defTabSz="89357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3626" indent="-147607" algn="l" defTabSz="89357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0121" indent="-133322" algn="l" defTabSz="89357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0903" indent="-147607" algn="l" defTabSz="89357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893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574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2557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09370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08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2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3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4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0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-6223" y="-21782"/>
            <a:ext cx="8962994" cy="23649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403694" y="-20223"/>
            <a:ext cx="2559300" cy="23494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059" tIns="45530" rIns="91059" bIns="45530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9"/>
            </p:custDataLst>
          </p:nvPr>
        </p:nvSpPr>
        <p:spPr bwMode="auto">
          <a:xfrm>
            <a:off x="-6219" y="-26446"/>
            <a:ext cx="8990999" cy="25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7" tIns="44789" rIns="89577" bIns="44789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4673" y="6484983"/>
            <a:ext cx="8958326" cy="258279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953" tIns="46477" rIns="92953" bIns="46477" anchor="ctr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lIns="92953" tIns="46477" rIns="92953" bIns="46477"/>
            <a:lstStyle/>
            <a:p>
              <a:pPr marL="0" marR="0" lvl="0" indent="0" algn="l" defTabSz="8961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64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6870436" y="6528544"/>
            <a:ext cx="1866966" cy="18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76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fld id="{E72C8E2D-C27F-46E3-A7B6-55CF4F287AA0}" type="slidenum">
              <a:rPr lang="en-US" smtClean="0">
                <a:solidFill>
                  <a:srgbClr val="FFFFFF"/>
                </a:solidFill>
                <a:latin typeface="Arial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19797" y="230273"/>
            <a:ext cx="861760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22913" y="1272724"/>
            <a:ext cx="8617605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913" y="532117"/>
            <a:ext cx="8617605" cy="6162908"/>
            <a:chOff x="77" y="335"/>
            <a:chExt cx="5429" cy="3882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*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Сноска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: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035684" y="2710380"/>
            <a:ext cx="1713042" cy="9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419318" y="4217925"/>
            <a:ext cx="945772" cy="90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6"/>
            </p:custDataLst>
          </p:nvPr>
        </p:nvSpPr>
        <p:spPr bwMode="auto">
          <a:xfrm>
            <a:off x="147806" y="35786"/>
            <a:ext cx="1764907" cy="1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84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1561" y="5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8" name="think-cell Slide" r:id="rId29" imgW="0" imgH="0" progId="TCLayout.ActiveDocument.1">
                  <p:embed/>
                </p:oleObj>
              </mc:Choice>
              <mc:Fallback>
                <p:oleObj name="think-cell Slide" r:id="rId29" imgW="0" imgH="0" progId="TCLayout.ActiveDocument.1">
                  <p:embed/>
                  <p:pic>
                    <p:nvPicPr>
                      <p:cNvPr id="1037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1" y="5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4568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</p:sldLayoutIdLst>
  <p:hf hdr="0" ftr="0" dt="0"/>
  <p:txStyles>
    <p:titleStyle>
      <a:lvl1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7868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5732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3600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1465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342119" indent="-34211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  <a:ea typeface="+mn-ea"/>
          <a:cs typeface="+mn-cs"/>
        </a:defRPr>
      </a:lvl1pPr>
      <a:lvl2pPr marL="144624" indent="-14306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</a:defRPr>
      </a:lvl2pPr>
      <a:lvl3pPr marL="295468" indent="-149289" algn="l" defTabSz="894180" rtl="0" eaLnBrk="0" fontAlgn="base" hangingPunct="0">
        <a:spcBef>
          <a:spcPct val="0"/>
        </a:spcBef>
        <a:spcAft>
          <a:spcPct val="0"/>
        </a:spcAft>
        <a:buChar char="–"/>
        <a:defRPr sz="1568">
          <a:solidFill>
            <a:schemeClr val="tx1"/>
          </a:solidFill>
          <a:latin typeface="+mn-lt"/>
        </a:defRPr>
      </a:lvl3pPr>
      <a:lvl4pPr marL="432315" indent="-135294" algn="l" defTabSz="89418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568">
          <a:solidFill>
            <a:schemeClr val="tx1"/>
          </a:solidFill>
          <a:latin typeface="+mn-lt"/>
        </a:defRPr>
      </a:lvl4pPr>
      <a:lvl5pPr marL="581605" indent="-147734" algn="l" defTabSz="89418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5pPr>
      <a:lvl6pPr marL="10294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6pPr>
      <a:lvl7pPr marL="1477336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7pPr>
      <a:lvl8pPr marL="1925203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8pPr>
      <a:lvl9pPr marL="23730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7868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5732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360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1465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39331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7196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5063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2929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4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8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8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86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8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8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9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90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13" Type="http://schemas.openxmlformats.org/officeDocument/2006/relationships/oleObject" Target="../embeddings/oleObject9.bin"/><Relationship Id="rId3" Type="http://schemas.openxmlformats.org/officeDocument/2006/relationships/tags" Target="../tags/tag81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6.emf"/><Relationship Id="rId2" Type="http://schemas.openxmlformats.org/officeDocument/2006/relationships/tags" Target="../tags/tag80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6.xml"/><Relationship Id="rId11" Type="http://schemas.openxmlformats.org/officeDocument/2006/relationships/oleObject" Target="../embeddings/oleObject8.bin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0.bin"/><Relationship Id="rId10" Type="http://schemas.openxmlformats.org/officeDocument/2006/relationships/image" Target="../media/image5.emf"/><Relationship Id="rId4" Type="http://schemas.openxmlformats.org/officeDocument/2006/relationships/tags" Target="../tags/tag82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31776" y="769937"/>
            <a:ext cx="8620125" cy="6204776"/>
          </a:xfrm>
        </p:spPr>
        <p:txBody>
          <a:bodyPr/>
          <a:lstStyle/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ОСНОВНЫЕ ПОДХОДЫ К ФОРМИРОВАНИЮ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ЫХ ОТНОШЕНИЙ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В ИРКУТСКОЙ ОБЛАСТИ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НА 2018 ГОД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</a:rPr>
              <a:t>И ПЛАНОВЫЙ ПЕРИОД 2019 – 2020 ГОДОВ</a:t>
            </a: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Начальник управления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межбюджетных отношений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Министерства финансов</a:t>
            </a:r>
            <a: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  <a:t/>
            </a:r>
            <a:b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</a:br>
            <a: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  <a:t>Иркутской области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2200" b="1" i="1" dirty="0" smtClean="0">
                <a:solidFill>
                  <a:srgbClr val="000099"/>
                </a:solidFill>
                <a:latin typeface="Times New Roman" pitchFamily="18" charset="0"/>
              </a:rPr>
              <a:t>И.Н. Байбурова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2200" b="1" i="1" dirty="0" smtClean="0">
                <a:solidFill>
                  <a:srgbClr val="000099"/>
                </a:solidFill>
                <a:latin typeface="Times New Roman" pitchFamily="18" charset="0"/>
              </a:rPr>
              <a:t>тел. 25-63-28</a:t>
            </a:r>
            <a:endParaRPr lang="ru-RU" sz="22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1800" i="1" dirty="0" smtClean="0">
                <a:solidFill>
                  <a:schemeClr val="accent6">
                    <a:lumMod val="50000"/>
                  </a:schemeClr>
                </a:solidFill>
              </a:rPr>
              <a:t>2018 год</a:t>
            </a:r>
            <a:endParaRPr lang="ru-RU" sz="1800" i="1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65D4D1-B809-4E92-9A64-4E9C36348394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58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754982" y="169701"/>
            <a:ext cx="560076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400" b="1" dirty="0" smtClean="0">
              <a:solidFill>
                <a:srgbClr val="FF0000"/>
              </a:solidFill>
            </a:endParaRPr>
          </a:p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МО ЗАЛАРИНСКОГО РАЙОНА </a:t>
            </a:r>
          </a:p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ЗА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</a:rPr>
              <a:t>СЧЕТ СРЕДСТВ ОБ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В 2018 ГОДУ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00625" y="1388444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518587" y="14997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615783" y="4903791"/>
            <a:ext cx="40137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В 2018 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ГОДУ </a:t>
            </a:r>
            <a:r>
              <a:rPr lang="ru-RU" sz="1800" b="1" dirty="0" smtClean="0">
                <a:solidFill>
                  <a:srgbClr val="FF0000"/>
                </a:solidFill>
              </a:rPr>
              <a:t>+ 4 470 ТЫС. РУБЛЕЙ </a:t>
            </a:r>
            <a:endParaRPr lang="ru-RU" sz="1800" dirty="0">
              <a:solidFill>
                <a:srgbClr val="FF0000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00625" y="6027737"/>
            <a:ext cx="8471094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Прямоугольник 10"/>
          <p:cNvSpPr/>
          <p:nvPr/>
        </p:nvSpPr>
        <p:spPr>
          <a:xfrm>
            <a:off x="518319" y="3872178"/>
            <a:ext cx="7470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НАЛОГ ПО УПРОЩЕННОЙ СИСТЕМЕ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НАЛОГООБЛОЖЕНИЯ ПОСТУПАЕТ В БЮДЖЕТ РАЙОНА И ВЛИЯЕТ НА РАЗМЕР РФФПП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0625" y="6100960"/>
            <a:ext cx="26036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* ПЕРВОНАЧАЛЬНЫЙ БЮДЖЕТ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880769" y="1979104"/>
            <a:ext cx="3241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</a:rPr>
              <a:t>*</a:t>
            </a:r>
            <a:endParaRPr lang="ru-RU" sz="2800" dirty="0"/>
          </a:p>
        </p:txBody>
      </p:sp>
      <p:sp>
        <p:nvSpPr>
          <p:cNvPr id="6" name="Стрелка вниз 5"/>
          <p:cNvSpPr/>
          <p:nvPr/>
        </p:nvSpPr>
        <p:spPr bwMode="auto">
          <a:xfrm>
            <a:off x="3947319" y="4530175"/>
            <a:ext cx="488853" cy="328012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7250677"/>
              </p:ext>
            </p:extLst>
          </p:nvPr>
        </p:nvGraphicFramePr>
        <p:xfrm>
          <a:off x="127164" y="1888090"/>
          <a:ext cx="8713461" cy="15503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Лист" r:id="rId4" imgW="4229201" imgH="752490" progId="Excel.Sheet.12">
                  <p:embed/>
                </p:oleObj>
              </mc:Choice>
              <mc:Fallback>
                <p:oleObj name="Лист" r:id="rId4" imgW="4229201" imgH="7524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7164" y="1888090"/>
                        <a:ext cx="8713461" cy="15503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191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754982" y="169701"/>
            <a:ext cx="560076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400" b="1" dirty="0" smtClean="0">
              <a:solidFill>
                <a:srgbClr val="FF0000"/>
              </a:solidFill>
            </a:endParaRPr>
          </a:p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МО ЗИМИНСКОГО РАЙОНА </a:t>
            </a:r>
          </a:p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ЗА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</a:rPr>
              <a:t>СЧЕТ СРЕДСТВ ОБ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В 2018 ГОДУ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00625" y="1388444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518587" y="14997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615783" y="4903791"/>
            <a:ext cx="40137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В 2018 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ГОДУ </a:t>
            </a:r>
            <a:r>
              <a:rPr lang="ru-RU" sz="1800" b="1" dirty="0" smtClean="0">
                <a:solidFill>
                  <a:srgbClr val="FF0000"/>
                </a:solidFill>
              </a:rPr>
              <a:t>+ 2 400 ТЫС. РУБЛЕЙ </a:t>
            </a:r>
            <a:endParaRPr lang="ru-RU" sz="1800" dirty="0">
              <a:solidFill>
                <a:srgbClr val="FF0000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00625" y="6027737"/>
            <a:ext cx="8471094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Прямоугольник 10"/>
          <p:cNvSpPr/>
          <p:nvPr/>
        </p:nvSpPr>
        <p:spPr>
          <a:xfrm>
            <a:off x="518319" y="3872178"/>
            <a:ext cx="7470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НАЛОГ ПО УПРОЩЕННОЙ СИСТЕМЕ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НАЛОГООБЛОЖЕНИЯ ПОСТУПАЕТ В БЮДЖЕТ РАЙОНА И ВЛИЯЕТ НА РАЗМЕР РФФПП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0625" y="6100960"/>
            <a:ext cx="26036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* ПЕРВОНАЧАЛЬНЫЙ БЮДЖЕТ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880769" y="1979104"/>
            <a:ext cx="3241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</a:rPr>
              <a:t>*</a:t>
            </a:r>
            <a:endParaRPr lang="ru-RU" sz="2800" dirty="0"/>
          </a:p>
        </p:txBody>
      </p:sp>
      <p:sp>
        <p:nvSpPr>
          <p:cNvPr id="6" name="Стрелка вниз 5"/>
          <p:cNvSpPr/>
          <p:nvPr/>
        </p:nvSpPr>
        <p:spPr bwMode="auto">
          <a:xfrm>
            <a:off x="3947319" y="4530175"/>
            <a:ext cx="488853" cy="328012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8513291"/>
              </p:ext>
            </p:extLst>
          </p:nvPr>
        </p:nvGraphicFramePr>
        <p:xfrm>
          <a:off x="89622" y="1888090"/>
          <a:ext cx="8712685" cy="15502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Лист" r:id="rId4" imgW="4229201" imgH="752490" progId="Excel.Sheet.12">
                  <p:embed/>
                </p:oleObj>
              </mc:Choice>
              <mc:Fallback>
                <p:oleObj name="Лист" r:id="rId4" imgW="4229201" imgH="7524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622" y="1888090"/>
                        <a:ext cx="8712685" cy="15502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86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754982" y="169701"/>
            <a:ext cx="560076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400" b="1" dirty="0" smtClean="0">
              <a:solidFill>
                <a:srgbClr val="FF0000"/>
              </a:solidFill>
            </a:endParaRPr>
          </a:p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МО УСТЬ - УДИНСКОГО РАЙОНА </a:t>
            </a:r>
          </a:p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ЗА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</a:rPr>
              <a:t>СЧЕТ СРЕДСТВ ОБ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В 2018 ГОДУ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00625" y="1388444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518587" y="14997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615783" y="4903791"/>
            <a:ext cx="40137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В 2018 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ГОДУ </a:t>
            </a:r>
            <a:r>
              <a:rPr lang="ru-RU" sz="1800" b="1" dirty="0" smtClean="0">
                <a:solidFill>
                  <a:srgbClr val="FF0000"/>
                </a:solidFill>
              </a:rPr>
              <a:t>+ 4 309 ТЫС. РУБЛЕЙ </a:t>
            </a:r>
            <a:endParaRPr lang="ru-RU" sz="1800" dirty="0">
              <a:solidFill>
                <a:srgbClr val="FF0000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00625" y="6027737"/>
            <a:ext cx="8471094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Прямоугольник 10"/>
          <p:cNvSpPr/>
          <p:nvPr/>
        </p:nvSpPr>
        <p:spPr>
          <a:xfrm>
            <a:off x="518319" y="3872178"/>
            <a:ext cx="7470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НАЛОГ ПО УПРОЩЕННОЙ СИСТЕМЕ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НАЛОГООБЛОЖЕНИЯ ПОСТУПАЕТ В БЮДЖЕТ РАЙОНА И ВЛИЯЕТ НА РАЗМЕР РФФПП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0625" y="6100960"/>
            <a:ext cx="26036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* ПЕРВОНАЧАЛЬНЫЙ БЮДЖЕТ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880769" y="1979104"/>
            <a:ext cx="3241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</a:rPr>
              <a:t>*</a:t>
            </a:r>
            <a:endParaRPr lang="ru-RU" sz="2800" dirty="0"/>
          </a:p>
        </p:txBody>
      </p:sp>
      <p:sp>
        <p:nvSpPr>
          <p:cNvPr id="6" name="Стрелка вниз 5"/>
          <p:cNvSpPr/>
          <p:nvPr/>
        </p:nvSpPr>
        <p:spPr bwMode="auto">
          <a:xfrm>
            <a:off x="3947319" y="4530175"/>
            <a:ext cx="488853" cy="328012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02707065"/>
              </p:ext>
            </p:extLst>
          </p:nvPr>
        </p:nvGraphicFramePr>
        <p:xfrm>
          <a:off x="113265" y="1895696"/>
          <a:ext cx="8759904" cy="15586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1" name="Лист" r:id="rId4" imgW="4229201" imgH="752490" progId="Excel.Sheet.12">
                  <p:embed/>
                </p:oleObj>
              </mc:Choice>
              <mc:Fallback>
                <p:oleObj name="Лист" r:id="rId4" imgW="4229201" imgH="7524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265" y="1895696"/>
                        <a:ext cx="8759904" cy="15586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343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746099" y="185958"/>
            <a:ext cx="76838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 В 2017 ГОДУ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646112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665162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 bwMode="auto">
          <a:xfrm>
            <a:off x="7730101" y="3117036"/>
            <a:ext cx="1031577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48217361"/>
              </p:ext>
            </p:extLst>
          </p:nvPr>
        </p:nvGraphicFramePr>
        <p:xfrm>
          <a:off x="442119" y="923111"/>
          <a:ext cx="8229600" cy="257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Лист" r:id="rId4" imgW="4724355" imgH="1476360" progId="Excel.Sheet.12">
                  <p:embed/>
                </p:oleObj>
              </mc:Choice>
              <mc:Fallback>
                <p:oleObj name="Лист" r:id="rId4" imgW="4724355" imgH="1476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42119" y="923111"/>
                        <a:ext cx="8229600" cy="257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1805974"/>
              </p:ext>
            </p:extLst>
          </p:nvPr>
        </p:nvGraphicFramePr>
        <p:xfrm>
          <a:off x="442118" y="3852862"/>
          <a:ext cx="8178803" cy="25558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Лист" r:id="rId6" imgW="4724355" imgH="1476360" progId="Excel.Sheet.12">
                  <p:embed/>
                </p:oleObj>
              </mc:Choice>
              <mc:Fallback>
                <p:oleObj name="Лист" r:id="rId6" imgW="4724355" imgH="1476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42118" y="3852862"/>
                        <a:ext cx="8178803" cy="25558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Овал 9"/>
          <p:cNvSpPr/>
          <p:nvPr/>
        </p:nvSpPr>
        <p:spPr bwMode="auto">
          <a:xfrm>
            <a:off x="7710260" y="6027737"/>
            <a:ext cx="1031577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751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84233957"/>
              </p:ext>
            </p:extLst>
          </p:nvPr>
        </p:nvGraphicFramePr>
        <p:xfrm>
          <a:off x="257195" y="3499057"/>
          <a:ext cx="8595507" cy="26860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Лист" r:id="rId4" imgW="4724355" imgH="1476360" progId="Excel.Sheet.12">
                  <p:embed/>
                </p:oleObj>
              </mc:Choice>
              <mc:Fallback>
                <p:oleObj name="Лист" r:id="rId4" imgW="4724355" imgH="1476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7195" y="3499057"/>
                        <a:ext cx="8595507" cy="26860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Прямоугольник 38"/>
          <p:cNvSpPr/>
          <p:nvPr/>
        </p:nvSpPr>
        <p:spPr>
          <a:xfrm>
            <a:off x="746099" y="262158"/>
            <a:ext cx="76838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 В 2017 ГОДУ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 bwMode="auto">
          <a:xfrm>
            <a:off x="7985919" y="2672661"/>
            <a:ext cx="1031577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92520823"/>
              </p:ext>
            </p:extLst>
          </p:nvPr>
        </p:nvGraphicFramePr>
        <p:xfrm>
          <a:off x="257195" y="1388624"/>
          <a:ext cx="8571749" cy="1693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Лист" r:id="rId6" imgW="4724355" imgH="933390" progId="Excel.Sheet.12">
                  <p:embed/>
                </p:oleObj>
              </mc:Choice>
              <mc:Fallback>
                <p:oleObj name="Лист" r:id="rId6" imgW="4724355" imgH="93339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57195" y="1388624"/>
                        <a:ext cx="8571749" cy="1693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Овал 7"/>
          <p:cNvSpPr/>
          <p:nvPr/>
        </p:nvSpPr>
        <p:spPr bwMode="auto">
          <a:xfrm>
            <a:off x="7929861" y="5799137"/>
            <a:ext cx="1031577" cy="4572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685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/>
          <p:cNvSpPr/>
          <p:nvPr/>
        </p:nvSpPr>
        <p:spPr bwMode="auto">
          <a:xfrm>
            <a:off x="6508352" y="2764629"/>
            <a:ext cx="2249194" cy="1473121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 b="1" dirty="0">
              <a:solidFill>
                <a:srgbClr val="000000"/>
              </a:solidFill>
              <a:cs typeface="+mn-cs"/>
            </a:endParaRPr>
          </a:p>
        </p:txBody>
      </p:sp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98"/>
          <a:ext cx="136911" cy="147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36911" cy="147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8"/>
            <a:ext cx="136911" cy="147802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defTabSz="896112"/>
            <a:endParaRPr lang="ru-RU" sz="1078" b="1">
              <a:solidFill>
                <a:srgbClr val="000000"/>
              </a:solidFill>
              <a:latin typeface="Arial" pitchFamily="34" charset="0"/>
              <a:cs typeface="+mn-cs"/>
              <a:sym typeface="Arial" charset="0"/>
            </a:endParaRPr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89171"/>
            <a:ext cx="8961438" cy="595723"/>
          </a:xfrm>
        </p:spPr>
        <p:txBody>
          <a:bodyPr/>
          <a:lstStyle/>
          <a:p>
            <a:pPr algn="ctr" defTabSz="889889" eaLnBrk="1" hangingPunct="1"/>
            <a:r>
              <a:rPr lang="ru-RU" sz="191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</a:t>
            </a:r>
            <a:r>
              <a:rPr lang="ru-RU" sz="191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1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СПРЕДЕЛЕНИИ </a:t>
            </a:r>
            <a:br>
              <a:rPr lang="ru-RU" sz="191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91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«ЗА ЭФФЕКТИВНОСТЬ» </a:t>
            </a:r>
            <a:r>
              <a:rPr lang="ru-RU" sz="196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18 ГОДУ</a:t>
            </a:r>
          </a:p>
        </p:txBody>
      </p:sp>
      <p:sp>
        <p:nvSpPr>
          <p:cNvPr id="10" name="Прямая соединительная линия 8"/>
          <p:cNvSpPr>
            <a:spLocks noChangeShapeType="1"/>
          </p:cNvSpPr>
          <p:nvPr/>
        </p:nvSpPr>
        <p:spPr bwMode="auto">
          <a:xfrm>
            <a:off x="283022" y="907638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 defTabSz="896112">
              <a:defRPr/>
            </a:pPr>
            <a:endParaRPr lang="ru-RU" sz="1764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55075" y="1349002"/>
            <a:ext cx="3808277" cy="401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12"/>
            <a:r>
              <a:rPr lang="ru-RU" sz="1764" b="1" kern="0" dirty="0">
                <a:solidFill>
                  <a:srgbClr val="FF0000"/>
                </a:solidFill>
                <a:latin typeface="Arial" pitchFamily="34" charset="0"/>
                <a:cs typeface="Arial" panose="020B0604020202020204" pitchFamily="34" charset="0"/>
              </a:rPr>
              <a:t>Премирование муниципальных образований Иркутской области за:</a:t>
            </a:r>
          </a:p>
          <a:p>
            <a:pPr algn="ctr" defTabSz="896112">
              <a:lnSpc>
                <a:spcPct val="60000"/>
              </a:lnSpc>
            </a:pPr>
            <a:endParaRPr lang="ru-RU" sz="1764" b="1" kern="0" dirty="0">
              <a:solidFill>
                <a:srgbClr val="FF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рирост</a:t>
            </a:r>
            <a:r>
              <a:rPr lang="ru-RU" sz="1764" dirty="0">
                <a:solidFill>
                  <a:srgbClr val="000000"/>
                </a:solidFill>
                <a:latin typeface="Arial" pitchFamily="34" charset="0"/>
                <a:cs typeface="+mn-cs"/>
              </a:rPr>
              <a:t>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оступлений налоговых и неналоговых доходов в бюджеты МО;</a:t>
            </a:r>
          </a:p>
          <a:p>
            <a:pPr marL="280035" indent="-280035" algn="just" defTabSz="896112">
              <a:lnSpc>
                <a:spcPct val="85000"/>
              </a:lnSpc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объединение (преобразование) МО;</a:t>
            </a:r>
          </a:p>
          <a:p>
            <a:pPr marL="280035" indent="-280035" algn="just" defTabSz="896112"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качественное </a:t>
            </a:r>
            <a:r>
              <a:rPr lang="ru-RU" sz="1764" b="1" kern="0" dirty="0" smtClean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управление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бюджетным процессом (приказ МФ ИО от 15.06.2016 №56н-мпр).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>
            <a:off x="248956" y="5736558"/>
            <a:ext cx="827410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6521045" y="3067944"/>
            <a:ext cx="2236500" cy="754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2352" b="1" dirty="0">
                <a:solidFill>
                  <a:srgbClr val="FF0000"/>
                </a:solidFill>
                <a:cs typeface="+mn-cs"/>
              </a:rPr>
              <a:t>500 </a:t>
            </a:r>
          </a:p>
          <a:p>
            <a:pPr algn="ctr" defTabSz="894557"/>
            <a:r>
              <a:rPr lang="ru-RU" sz="1960" b="1" dirty="0">
                <a:solidFill>
                  <a:srgbClr val="FF0000"/>
                </a:solidFill>
                <a:cs typeface="+mn-cs"/>
              </a:rPr>
              <a:t>млн. рубл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48188" y="1801917"/>
            <a:ext cx="1961372" cy="678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6112"/>
            <a:r>
              <a:rPr lang="ru-RU" sz="1274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+mn-cs"/>
              </a:rPr>
              <a:t>30% от прироста налоговых и неналоговых доход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38449" y="2970083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8957" y="5935394"/>
            <a:ext cx="7998461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557"/>
            <a:r>
              <a:rPr lang="ru-RU" sz="1372" dirty="0">
                <a:solidFill>
                  <a:srgbClr val="839FE7">
                    <a:lumMod val="50000"/>
                  </a:srgbClr>
                </a:solidFill>
                <a:cs typeface="+mn-cs"/>
              </a:rPr>
              <a:t>* фиксированный размер субсидии зависит от численности населения</a:t>
            </a:r>
          </a:p>
        </p:txBody>
      </p:sp>
      <p:sp>
        <p:nvSpPr>
          <p:cNvPr id="24" name="Стрелка влево 23"/>
          <p:cNvSpPr/>
          <p:nvPr/>
        </p:nvSpPr>
        <p:spPr bwMode="auto">
          <a:xfrm rot="21582784">
            <a:off x="4286393" y="3462453"/>
            <a:ext cx="1884964" cy="272483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Стрелка влево 25"/>
          <p:cNvSpPr/>
          <p:nvPr/>
        </p:nvSpPr>
        <p:spPr bwMode="auto">
          <a:xfrm rot="21582784">
            <a:off x="4286392" y="2461740"/>
            <a:ext cx="1884964" cy="272483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Стрелка влево 26"/>
          <p:cNvSpPr/>
          <p:nvPr/>
        </p:nvSpPr>
        <p:spPr bwMode="auto">
          <a:xfrm rot="21582784">
            <a:off x="4286394" y="4586281"/>
            <a:ext cx="1884964" cy="272483"/>
          </a:xfrm>
          <a:prstGeom prst="leftArrow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59554" y="4131812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14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9876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5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900" y="251054"/>
            <a:ext cx="8600491" cy="1013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2000" b="1" kern="0" dirty="0" smtClean="0">
                <a:solidFill>
                  <a:schemeClr val="accent6">
                    <a:lumMod val="50000"/>
                  </a:schemeClr>
                </a:solidFill>
                <a:ea typeface="+mj-ea"/>
                <a:cs typeface="Arial" charset="0"/>
              </a:rPr>
              <a:t>РЕСТРУКТУРИЗАЦИЯ ЗАДОЛЖЕННОСТИ МУНИЦИПАЛЬНЫХ ОБРАЗОВАНИЙ ИРКУТСКОЙ ОБЛАСТИ ( МО) ПО НАКОПЛЕННЫМ БЮДЖЕТНЫМ КРЕДИТАМ</a:t>
            </a:r>
            <a:endParaRPr lang="ru-RU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5" name="Прямая соединительная линия 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175323" y="1304372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TextBox 1"/>
          <p:cNvSpPr txBox="1"/>
          <p:nvPr/>
        </p:nvSpPr>
        <p:spPr>
          <a:xfrm>
            <a:off x="163558" y="1455737"/>
            <a:ext cx="8503833" cy="3733800"/>
          </a:xfrm>
          <a:prstGeom prst="rect">
            <a:avLst/>
          </a:prstGeom>
          <a:ln w="15875">
            <a:noFill/>
            <a:prstDash val="solid"/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68021" indent="-168021" algn="just" defTabSz="766763">
              <a:buFont typeface="Wingdings" panose="05000000000000000000" pitchFamily="2" charset="2"/>
              <a:buChar char="Ø"/>
            </a:pPr>
            <a:r>
              <a:rPr lang="ru-RU" sz="1800" u="sng" dirty="0">
                <a:solidFill>
                  <a:schemeClr val="accent6">
                    <a:lumMod val="50000"/>
                  </a:schemeClr>
                </a:solidFill>
              </a:rPr>
              <a:t>Основные условия реструктуризации:</a:t>
            </a:r>
          </a:p>
          <a:p>
            <a:pPr marL="224028" indent="-224028" algn="just" defTabSz="766763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реструктуризации подлежит задолженность по бюджетным кредитам, </a:t>
            </a:r>
          </a:p>
          <a:p>
            <a:pPr algn="just" defTabSz="766763"/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    предоставленным </a:t>
            </a:r>
            <a:r>
              <a:rPr lang="ru-RU" sz="1800" b="1" dirty="0">
                <a:solidFill>
                  <a:srgbClr val="FF0000"/>
                </a:solidFill>
              </a:rPr>
              <a:t>в период 2013-2016 годов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, 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в пределах остатка не </a:t>
            </a: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indent="266700" algn="just" defTabSz="766763"/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погашенного основного 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долга на дату проведения реструктуризации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; </a:t>
            </a:r>
          </a:p>
          <a:p>
            <a:pPr marL="224028" indent="-224028" algn="just" defTabSz="766763">
              <a:buFont typeface="Wingdings" panose="05000000000000000000" pitchFamily="2" charset="2"/>
              <a:buChar char="ü"/>
            </a:pPr>
            <a:r>
              <a:rPr lang="ru-RU" sz="1800" b="1" dirty="0">
                <a:solidFill>
                  <a:srgbClr val="FF0000"/>
                </a:solidFill>
              </a:rPr>
              <a:t>консолидация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 долга (с учетом процентов и пеней) на дату заключения </a:t>
            </a: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indent="266700" algn="just" defTabSz="766763"/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соглашения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;</a:t>
            </a:r>
          </a:p>
          <a:p>
            <a:pPr marL="224028" indent="-224028" algn="just" defTabSz="766763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продление срока возврата на </a:t>
            </a:r>
            <a:r>
              <a:rPr lang="ru-RU" sz="1800" b="1" dirty="0">
                <a:solidFill>
                  <a:srgbClr val="FF0000"/>
                </a:solidFill>
              </a:rPr>
              <a:t>7 лет (с 2018 по 2024 годы)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;</a:t>
            </a:r>
          </a:p>
          <a:p>
            <a:pPr marL="224028" indent="-224028" algn="just" defTabSz="766763">
              <a:buFont typeface="Wingdings" panose="05000000000000000000" pitchFamily="2" charset="2"/>
              <a:buChar char="ü"/>
            </a:pPr>
            <a:r>
              <a:rPr lang="ru-RU" sz="1800" b="1" dirty="0">
                <a:solidFill>
                  <a:srgbClr val="FF0000"/>
                </a:solidFill>
              </a:rPr>
              <a:t>заявительный характер </a:t>
            </a:r>
          </a:p>
          <a:p>
            <a:pPr algn="just" defTabSz="766763"/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   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(планируемая дата окончания приема заявлений </a:t>
            </a:r>
            <a:r>
              <a:rPr lang="ru-RU" sz="1800" b="1" dirty="0">
                <a:solidFill>
                  <a:srgbClr val="FF0000"/>
                </a:solidFill>
              </a:rPr>
              <a:t>1 марта 2018 года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);</a:t>
            </a:r>
          </a:p>
          <a:p>
            <a:pPr marL="224028" indent="-224028" algn="just" defTabSz="766763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график возврата в % от объема задолженности:</a:t>
            </a:r>
          </a:p>
          <a:p>
            <a:pPr algn="just" defTabSz="766763">
              <a:tabLst>
                <a:tab pos="8429625" algn="l"/>
              </a:tabLst>
            </a:pP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    в 2018 и 2019 годах  – </a:t>
            </a:r>
            <a:r>
              <a:rPr lang="ru-RU" sz="1800" dirty="0">
                <a:solidFill>
                  <a:srgbClr val="FF0000"/>
                </a:solidFill>
              </a:rPr>
              <a:t>по </a:t>
            </a:r>
            <a:r>
              <a:rPr lang="ru-RU" sz="1800" b="1" dirty="0">
                <a:solidFill>
                  <a:srgbClr val="FF0000"/>
                </a:solidFill>
              </a:rPr>
              <a:t>5%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; в 2020 году – </a:t>
            </a:r>
            <a:r>
              <a:rPr lang="ru-RU" sz="1800" b="1" dirty="0">
                <a:solidFill>
                  <a:srgbClr val="FF0000"/>
                </a:solidFill>
              </a:rPr>
              <a:t>10%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; в 2021 – 2024 годах </a:t>
            </a: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indent="266700" algn="just" defTabSz="766763">
              <a:tabLst>
                <a:tab pos="8429625" algn="l"/>
              </a:tabLst>
            </a:pP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– 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по </a:t>
            </a:r>
            <a:r>
              <a:rPr lang="ru-RU" sz="1800" b="1" dirty="0">
                <a:solidFill>
                  <a:srgbClr val="FF0000"/>
                </a:solidFill>
              </a:rPr>
              <a:t>20%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ежегодно;</a:t>
            </a:r>
          </a:p>
          <a:p>
            <a:pPr marL="168021" indent="-168021" algn="just" defTabSz="766763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 процентная ставка за пользование – </a:t>
            </a:r>
            <a:r>
              <a:rPr lang="ru-RU" sz="1800" b="1" dirty="0">
                <a:solidFill>
                  <a:srgbClr val="FF0000"/>
                </a:solidFill>
              </a:rPr>
              <a:t>0,1% годовых</a:t>
            </a:r>
            <a:r>
              <a:rPr lang="ru-RU" sz="1800" dirty="0">
                <a:solidFill>
                  <a:schemeClr val="accent6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734910-7FF0-47DF-85F7-5EB9C94A883E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6919" y="5673801"/>
            <a:ext cx="7620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СНИЖЕНИЕ ДОЛГОВОЙ НАГРУЗКИ ДЛЯ МО В ПЕРИОД 2018-2019 ГОДОВ ПОРЯДКА 590 МЛН РУБЛЕЙ</a:t>
            </a:r>
            <a:endParaRPr lang="ru-RU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25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16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Прямая соединительная линия 8"/>
          <p:cNvSpPr>
            <a:spLocks noChangeShapeType="1"/>
          </p:cNvSpPr>
          <p:nvPr/>
        </p:nvSpPr>
        <p:spPr bwMode="auto">
          <a:xfrm>
            <a:off x="253009" y="1193828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 defTabSz="896112">
              <a:defRPr/>
            </a:pPr>
            <a:endParaRPr lang="ru-RU" sz="1764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490" y="396536"/>
            <a:ext cx="896143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4180" rtl="0" eaLnBrk="0" fontAlgn="base" hangingPunct="0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4180" rtl="0" eaLnBrk="0" fontAlgn="base" hangingPunct="0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2pPr>
            <a:lvl3pPr algn="l" defTabSz="894180" rtl="0" eaLnBrk="0" fontAlgn="base" hangingPunct="0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3pPr>
            <a:lvl4pPr algn="l" defTabSz="894180" rtl="0" eaLnBrk="0" fontAlgn="base" hangingPunct="0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4pPr>
            <a:lvl5pPr algn="l" defTabSz="894180" rtl="0" eaLnBrk="0" fontAlgn="base" hangingPunct="0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5pPr>
            <a:lvl6pPr marL="447868" algn="l" defTabSz="894180" rtl="0" fontAlgn="base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6pPr>
            <a:lvl7pPr marL="895732" algn="l" defTabSz="894180" rtl="0" fontAlgn="base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7pPr>
            <a:lvl8pPr marL="1343600" algn="l" defTabSz="894180" rtl="0" fontAlgn="base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8pPr>
            <a:lvl9pPr marL="1791465" algn="l" defTabSz="894180" rtl="0" fontAlgn="base">
              <a:spcBef>
                <a:spcPct val="0"/>
              </a:spcBef>
              <a:spcAft>
                <a:spcPct val="0"/>
              </a:spcAft>
              <a:defRPr sz="1862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defTabSz="889889" eaLnBrk="1" hangingPunct="1"/>
            <a:r>
              <a:rPr lang="ru-RU" sz="2000" kern="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ОЛЖЕННОСТЬ* МУНИЦИПАЛЬНЫХ ОБРАЗОВАНИЙ ПО КРЕДИТАМ, ВЫДЕЛЕННЫМ ИЗ ОБ В 2013 – 2016 ГГ.</a:t>
            </a:r>
            <a:endParaRPr lang="ru-RU" sz="2000" kern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492125" y="1380331"/>
            <a:ext cx="12682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kern="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рублей</a:t>
            </a:r>
          </a:p>
          <a:p>
            <a:endParaRPr lang="ru-RU" sz="14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3009" y="6103937"/>
            <a:ext cx="34788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kern="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По состоянию на 26 января 2018 года</a:t>
            </a:r>
            <a:endParaRPr lang="ru-RU" sz="14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95449932"/>
              </p:ext>
            </p:extLst>
          </p:nvPr>
        </p:nvGraphicFramePr>
        <p:xfrm>
          <a:off x="256978" y="1787645"/>
          <a:ext cx="8407737" cy="4004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Лист" r:id="rId4" imgW="5219779" imgH="2486160" progId="Excel.Sheet.12">
                  <p:embed/>
                </p:oleObj>
              </mc:Choice>
              <mc:Fallback>
                <p:oleObj name="Лист" r:id="rId4" imgW="5219779" imgH="24861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6978" y="1787645"/>
                        <a:ext cx="8407737" cy="4004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8900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5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6900" y="215776"/>
            <a:ext cx="8600491" cy="904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1764" b="1" kern="0" dirty="0" smtClean="0">
                <a:solidFill>
                  <a:schemeClr val="accent6">
                    <a:lumMod val="50000"/>
                  </a:schemeClr>
                </a:solidFill>
                <a:ea typeface="+mj-ea"/>
                <a:cs typeface="Arial" charset="0"/>
              </a:rPr>
              <a:t>РЕСТРУКТУРИЗАЦИЯ ЗАДОЛЖЕННОСТИ МУНИЦИПАЛЬНЫХ ОБРАЗОВАНИЙ ИРКУТСКОЙ ОБЛАСТИ ( МО) ПО НАКОПЛЕННЫМ БЮДЖЕТНЫМ КРЕДИТАМ</a:t>
            </a:r>
            <a:endParaRPr lang="ru-RU" sz="1764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5" name="Прямая соединительная линия 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224247" y="1120477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Прямоугольник 1"/>
          <p:cNvSpPr/>
          <p:nvPr/>
        </p:nvSpPr>
        <p:spPr>
          <a:xfrm>
            <a:off x="224247" y="900829"/>
            <a:ext cx="852560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  <a:p>
            <a:pPr marL="280035" indent="-280035">
              <a:buFont typeface="Wingdings" panose="05000000000000000000" pitchFamily="2" charset="2"/>
              <a:buChar char="Ø"/>
            </a:pPr>
            <a:r>
              <a:rPr lang="ru-RU" sz="1600" u="sng" dirty="0">
                <a:solidFill>
                  <a:schemeClr val="accent6">
                    <a:lumMod val="50000"/>
                  </a:schemeClr>
                </a:solidFill>
              </a:rPr>
              <a:t>Основные </a:t>
            </a:r>
            <a:r>
              <a:rPr lang="ru-RU" sz="1600" b="1" u="sng" dirty="0">
                <a:solidFill>
                  <a:srgbClr val="FF0000"/>
                </a:solidFill>
              </a:rPr>
              <a:t>!!! обязательства !!!</a:t>
            </a:r>
            <a:r>
              <a:rPr lang="ru-RU" sz="1600" u="sng" dirty="0">
                <a:solidFill>
                  <a:srgbClr val="FF0000"/>
                </a:solidFill>
              </a:rPr>
              <a:t> </a:t>
            </a:r>
            <a:r>
              <a:rPr lang="ru-RU" sz="1600" u="sng" dirty="0">
                <a:solidFill>
                  <a:schemeClr val="accent6">
                    <a:lumMod val="50000"/>
                  </a:schemeClr>
                </a:solidFill>
              </a:rPr>
              <a:t>МО по реструктуризации задолженности:</a:t>
            </a:r>
          </a:p>
          <a:p>
            <a:pPr lvl="0"/>
            <a:endParaRPr lang="ru-RU" sz="1600" u="sng" dirty="0">
              <a:solidFill>
                <a:schemeClr val="accent6">
                  <a:lumMod val="50000"/>
                </a:schemeClr>
              </a:solidFill>
            </a:endParaRPr>
          </a:p>
          <a:p>
            <a:pPr marL="280035" indent="-28003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дефицит не более </a:t>
            </a:r>
            <a:r>
              <a:rPr lang="ru-RU" sz="1600" b="1" dirty="0">
                <a:solidFill>
                  <a:srgbClr val="FF0000"/>
                </a:solidFill>
              </a:rPr>
              <a:t>7,5%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и </a:t>
            </a:r>
            <a:r>
              <a:rPr lang="ru-RU" sz="1600" b="1" dirty="0">
                <a:solidFill>
                  <a:srgbClr val="FF0000"/>
                </a:solidFill>
              </a:rPr>
              <a:t>3,25%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(для 4-ой группы дотационности) </a:t>
            </a:r>
          </a:p>
          <a:p>
            <a:pPr lvl="0"/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     объема собственных доходов;</a:t>
            </a:r>
          </a:p>
          <a:p>
            <a:pPr marL="280035" indent="-280035">
              <a:buFont typeface="Wingdings" panose="05000000000000000000" pitchFamily="2" charset="2"/>
              <a:buChar char="ü"/>
            </a:pPr>
            <a:r>
              <a:rPr lang="ru-RU" sz="1600" b="1" dirty="0">
                <a:solidFill>
                  <a:srgbClr val="FF0000"/>
                </a:solidFill>
              </a:rPr>
              <a:t>ограничение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 уровня </a:t>
            </a:r>
            <a:r>
              <a:rPr lang="ru-RU" sz="1600" b="1" dirty="0">
                <a:solidFill>
                  <a:srgbClr val="FF0000"/>
                </a:solidFill>
              </a:rPr>
              <a:t>муниципального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 долга и уровня </a:t>
            </a:r>
            <a:r>
              <a:rPr lang="ru-RU" sz="1600" b="1" dirty="0">
                <a:solidFill>
                  <a:srgbClr val="FF0000"/>
                </a:solidFill>
              </a:rPr>
              <a:t>коммерческого</a:t>
            </a:r>
            <a:r>
              <a:rPr lang="ru-RU" sz="1600" dirty="0">
                <a:solidFill>
                  <a:srgbClr val="FF0000"/>
                </a:solidFill>
              </a:rPr>
              <a:t>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долга;</a:t>
            </a:r>
          </a:p>
          <a:p>
            <a:pPr marL="280035" indent="-28003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соблюдение </a:t>
            </a:r>
            <a:r>
              <a:rPr lang="ru-RU" sz="1600" b="1" dirty="0">
                <a:solidFill>
                  <a:srgbClr val="FF0000"/>
                </a:solidFill>
              </a:rPr>
              <a:t>нормативов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 по формированию ФОТ и содержанию ОМСУ, а также </a:t>
            </a:r>
          </a:p>
          <a:p>
            <a:pPr lvl="0"/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     запрет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на увеличение численности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муниципальных служащих;</a:t>
            </a:r>
          </a:p>
          <a:p>
            <a:pPr marL="280035" indent="-28003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запрет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на принятие РО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, не отнесенных к полномочиям ОМСУ;</a:t>
            </a:r>
          </a:p>
          <a:p>
            <a:pPr marL="280035" indent="-28003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утверждение решением представительного органа муниципального образования соглашения о реструктуризации задолженности;</a:t>
            </a:r>
          </a:p>
          <a:p>
            <a:pPr marL="280035" indent="-280035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утверждение плана мероприятий по оздоровлению местных финансов</a:t>
            </a:r>
          </a:p>
          <a:p>
            <a:pPr lvl="0"/>
            <a:r>
              <a:rPr lang="ru-RU" sz="1600" b="1" i="1" dirty="0">
                <a:solidFill>
                  <a:schemeClr val="accent6">
                    <a:lumMod val="50000"/>
                  </a:schemeClr>
                </a:solidFill>
              </a:rPr>
              <a:t>     </a:t>
            </a:r>
            <a:r>
              <a:rPr lang="ru-RU" sz="1600" i="1" dirty="0">
                <a:solidFill>
                  <a:schemeClr val="accent6">
                    <a:lumMod val="50000"/>
                  </a:schemeClr>
                </a:solidFill>
              </a:rPr>
              <a:t>(включая мероприятия, направленные на рост доходов, оптимизацию расходов и сокращение долга)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;</a:t>
            </a:r>
          </a:p>
          <a:p>
            <a:pPr lvl="0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   </a:t>
            </a:r>
            <a:endParaRPr lang="ru-RU" sz="1600" b="1" dirty="0">
              <a:solidFill>
                <a:schemeClr val="accent6">
                  <a:lumMod val="50000"/>
                </a:schemeClr>
              </a:solidFill>
            </a:endParaRPr>
          </a:p>
          <a:p>
            <a:pPr marL="280035" indent="-280035">
              <a:buFont typeface="Wingdings" panose="05000000000000000000" pitchFamily="2" charset="2"/>
              <a:buChar char="Ø"/>
            </a:pPr>
            <a:r>
              <a:rPr lang="ru-RU" sz="1600" u="sng" dirty="0">
                <a:solidFill>
                  <a:schemeClr val="accent6">
                    <a:lumMod val="50000"/>
                  </a:schemeClr>
                </a:solidFill>
              </a:rPr>
              <a:t>Последствия нарушений условий соглашений</a:t>
            </a:r>
          </a:p>
          <a:p>
            <a:pPr lvl="0"/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  <a:p>
            <a:pPr lvl="0"/>
            <a:endParaRPr lang="ru-RU" sz="1600" dirty="0">
              <a:solidFill>
                <a:schemeClr val="accent6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315021" y="5370215"/>
            <a:ext cx="8295612" cy="894289"/>
          </a:xfrm>
          <a:prstGeom prst="roundRect">
            <a:avLst/>
          </a:prstGeom>
          <a:solidFill>
            <a:srgbClr val="C00000">
              <a:alpha val="28000"/>
            </a:srgbClr>
          </a:solidFill>
          <a:ln w="158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614" tIns="44807" rIns="89614" bIns="44807" numCol="1" rtlCol="0" anchor="t" anchorCtr="0" compatLnSpc="1">
            <a:prstTxWarp prst="textNoShape">
              <a:avLst/>
            </a:prstTxWarp>
          </a:bodyPr>
          <a:lstStyle/>
          <a:p>
            <a:pPr algn="ctr" defTabSz="1008126"/>
            <a:r>
              <a:rPr lang="ru-RU" sz="1666" b="1" dirty="0" smtClean="0">
                <a:solidFill>
                  <a:srgbClr val="FF0000"/>
                </a:solidFill>
                <a:latin typeface="+mn-lt"/>
              </a:rPr>
              <a:t>ДОСРОЧНЫЙ ВОЗВРАТ </a:t>
            </a:r>
            <a:r>
              <a:rPr lang="ru-RU" sz="1568" dirty="0" smtClean="0">
                <a:solidFill>
                  <a:schemeClr val="accent6">
                    <a:lumMod val="50000"/>
                  </a:schemeClr>
                </a:solidFill>
                <a:latin typeface="+mn-lt"/>
              </a:rPr>
              <a:t>СУММЫ РЕСТРУКТУРИРОВАННОЙ ЗАДОЛЖЕННОСТИ МУНИЦИПАЛЬНЫМ ОБРАЗОВАНИЕМ ИЛИ ПРИНЯТИЕ МЕР МИНИСТЕРСТВОМ ФИНАНСОВ ИРКУТСКОЙ ОБЛАСТИ ПО ЕЕ </a:t>
            </a:r>
            <a:r>
              <a:rPr lang="ru-RU" sz="1666" b="1" dirty="0" smtClean="0">
                <a:solidFill>
                  <a:srgbClr val="FF0000"/>
                </a:solidFill>
                <a:latin typeface="+mn-lt"/>
              </a:rPr>
              <a:t>БЕССПОРНОМУ ВЗЫСКАНИЮ </a:t>
            </a:r>
            <a:endParaRPr lang="ru-RU" sz="1666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734910-7FF0-47DF-85F7-5EB9C94A883E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33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25643" indent="-27909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16373" indent="-22326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62920" indent="-22326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09469" indent="-22326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56017" indent="-22326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02567" indent="-22326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49115" indent="-22326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95664" indent="-22326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8F07C105-8BFD-451E-9469-9063417ED2A5}" type="slidenum">
              <a:rPr lang="en-US" smtClean="0">
                <a:solidFill>
                  <a:srgbClr val="FFFFFF"/>
                </a:solidFill>
              </a:rPr>
              <a:pPr eaLnBrk="1" hangingPunct="1"/>
              <a:t>18</a:t>
            </a:fld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0" y="2533025"/>
            <a:ext cx="8961438" cy="1177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94" tIns="45246" rIns="90494" bIns="45246">
            <a:spAutoFit/>
          </a:bodyPr>
          <a:lstStyle/>
          <a:p>
            <a:pPr algn="ctr" defTabSz="908602"/>
            <a:endParaRPr lang="ru-RU" sz="3500" b="1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08602"/>
            <a:r>
              <a:rPr lang="ru-RU" sz="3500" b="1" dirty="0">
                <a:solidFill>
                  <a:srgbClr val="002960"/>
                </a:solidFill>
                <a:cs typeface="Arial" pitchFamily="34" charset="0"/>
              </a:rPr>
              <a:t>СПАСИБО ЗА ВНИМАНИЕ!</a:t>
            </a: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84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207963" y="236538"/>
            <a:ext cx="852805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СТАТЬЯ 31 БЮДЖЕТНОГО КОДЕКСА РОССИЙСКОЙ ФЕДЕРАЦИИ </a:t>
            </a:r>
          </a:p>
          <a:p>
            <a:pPr algn="ctr" defTabSz="892175" eaLnBrk="0" hangingPunct="0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«ПРИНЦИП САМОСТОЯТЕЛЬНОСТИ БЮДЖЕТОВ»:</a:t>
            </a:r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529388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1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-8731" y="806282"/>
            <a:ext cx="89614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2175" eaLnBrk="0" hangingPunct="0"/>
            <a:r>
              <a:rPr lang="ru-RU" sz="1800" b="1" dirty="0" smtClean="0"/>
              <a:t>«…органы местного самоуправления обязаны </a:t>
            </a:r>
            <a:r>
              <a:rPr lang="ru-RU" sz="1800" b="1" dirty="0" smtClean="0">
                <a:solidFill>
                  <a:srgbClr val="0033CC"/>
                </a:solidFill>
              </a:rPr>
              <a:t>самостоятельно</a:t>
            </a:r>
            <a:r>
              <a:rPr lang="ru-RU" sz="1800" b="1" dirty="0" smtClean="0"/>
              <a:t> </a:t>
            </a:r>
            <a:br>
              <a:rPr lang="ru-RU" sz="1800" b="1" dirty="0" smtClean="0"/>
            </a:br>
            <a:r>
              <a:rPr lang="ru-RU" sz="1800" b="1" dirty="0" smtClean="0"/>
              <a:t>обеспечивать </a:t>
            </a:r>
            <a:r>
              <a:rPr lang="ru-RU" sz="1800" b="1" dirty="0" smtClean="0">
                <a:solidFill>
                  <a:srgbClr val="0033CC"/>
                </a:solidFill>
              </a:rPr>
              <a:t>сбалансированность</a:t>
            </a:r>
            <a:r>
              <a:rPr lang="ru-RU" sz="1800" b="1" dirty="0" smtClean="0"/>
              <a:t> местных бюджетов и </a:t>
            </a:r>
            <a:br>
              <a:rPr lang="ru-RU" sz="1800" b="1" dirty="0" smtClean="0"/>
            </a:br>
            <a:r>
              <a:rPr lang="ru-RU" sz="1800" b="1" dirty="0" smtClean="0">
                <a:solidFill>
                  <a:srgbClr val="0033CC"/>
                </a:solidFill>
              </a:rPr>
              <a:t>эффективность</a:t>
            </a:r>
            <a:r>
              <a:rPr lang="ru-RU" sz="1800" b="1" dirty="0" smtClean="0"/>
              <a:t> использования бюджетных средств».</a:t>
            </a:r>
            <a:endParaRPr lang="ru-RU" sz="1800" b="1" dirty="0"/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216313" y="2118429"/>
            <a:ext cx="8528050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ОСНОВНЫЕ ФОРМЫ МЕЖБЮДЖЕТНЫХ ТРАНСФЕРТОВ (МБТ):</a:t>
            </a:r>
          </a:p>
          <a:p>
            <a:pPr algn="ctr" defTabSz="892175" eaLnBrk="0" hangingPunct="0"/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rgbClr val="008000"/>
                </a:solidFill>
              </a:rPr>
              <a:t>Дотац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на безвозмездной и безвозвратной основе без установления направлений и (или) условий их использования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Субсид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в целях софинансирования расходных обязательств муниципальных образований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rgbClr val="008000"/>
                </a:solidFill>
              </a:rPr>
              <a:t>Субвенц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в целях финансового обеспечения переданных государственных полномочий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Иные МБТ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 (в том числе дотация на сбалансированность), случаи и порядки предоставления которых устанавливаются Законом об областном бюджете (имеют ограничение по размеру – 10% от МБТ без субвенций).</a:t>
            </a:r>
            <a:endParaRPr lang="ru-RU" sz="1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6313" y="17605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488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599021" y="201414"/>
            <a:ext cx="8115941" cy="3939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ОСНОВНЫЕ УСЛОВИЯ ПРЕДОСТАВЛЕНИЯ </a:t>
            </a:r>
            <a:r>
              <a:rPr lang="ru-RU" sz="1960" b="1" dirty="0" smtClean="0">
                <a:solidFill>
                  <a:schemeClr val="accent6">
                    <a:lumMod val="50000"/>
                  </a:schemeClr>
                </a:solidFill>
              </a:rPr>
              <a:t>МБТ (</a:t>
            </a:r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СТ. 136 БК РФ)</a:t>
            </a:r>
            <a:endParaRPr lang="ru-RU" sz="196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21214" y="623760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/>
          </p:nvPr>
        </p:nvGraphicFramePr>
        <p:xfrm>
          <a:off x="56009" y="693737"/>
          <a:ext cx="8905429" cy="4415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Лист" r:id="rId4" imgW="9086732" imgH="4505220" progId="Excel.Sheet.12">
                  <p:embed/>
                </p:oleObj>
              </mc:Choice>
              <mc:Fallback>
                <p:oleObj name="Лист" r:id="rId4" imgW="9086732" imgH="4505220" progId="Excel.Sheet.12">
                  <p:embed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009" y="693737"/>
                        <a:ext cx="8905429" cy="4415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2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3519" y="5766266"/>
            <a:ext cx="64128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На 2018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год – распоряжение минфина области от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14.11.2017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№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554-мр</a:t>
            </a:r>
            <a:endParaRPr lang="ru-RU" sz="1400" b="1" dirty="0">
              <a:solidFill>
                <a:schemeClr val="accent6">
                  <a:lumMod val="50000"/>
                </a:schemeClr>
              </a:solidFill>
            </a:endParaRPr>
          </a:p>
          <a:p>
            <a:endParaRPr lang="ru-RU" sz="1400" b="1" dirty="0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213519" y="5570537"/>
            <a:ext cx="8458200" cy="0"/>
          </a:xfrm>
          <a:prstGeom prst="line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16479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3127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3105383"/>
              </p:ext>
            </p:extLst>
          </p:nvPr>
        </p:nvGraphicFramePr>
        <p:xfrm>
          <a:off x="289719" y="411278"/>
          <a:ext cx="7391400" cy="59974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Лист" r:id="rId3" imgW="6010188" imgH="4876740" progId="Excel.Sheet.12">
                  <p:embed/>
                </p:oleObj>
              </mc:Choice>
              <mc:Fallback>
                <p:oleObj name="Лист" r:id="rId3" imgW="6010188" imgH="487674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9719" y="411278"/>
                        <a:ext cx="7391400" cy="59974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7151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2746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0987300"/>
              </p:ext>
            </p:extLst>
          </p:nvPr>
        </p:nvGraphicFramePr>
        <p:xfrm>
          <a:off x="217488" y="340492"/>
          <a:ext cx="6549231" cy="6144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Лист" r:id="rId3" imgW="6010188" imgH="5638680" progId="Excel.Sheet.12">
                  <p:embed/>
                </p:oleObj>
              </mc:Choice>
              <mc:Fallback>
                <p:oleObj name="Лист" r:id="rId3" imgW="6010188" imgH="56386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7488" y="340492"/>
                        <a:ext cx="6549231" cy="61444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57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274025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5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870700" y="6272437"/>
            <a:ext cx="1866900" cy="18415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35363" y="69214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952630" y="1754622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871369" y="173596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42569" y="115452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7" name="Прямая соединительная линия 6"/>
          <p:cNvCxnSpPr>
            <a:stCxn id="10" idx="3"/>
          </p:cNvCxnSpPr>
          <p:nvPr/>
        </p:nvCxnSpPr>
        <p:spPr bwMode="auto">
          <a:xfrm flipV="1">
            <a:off x="4687297" y="138535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 стрелкой 11"/>
          <p:cNvCxnSpPr>
            <a:endCxn id="9" idx="0"/>
          </p:cNvCxnSpPr>
          <p:nvPr/>
        </p:nvCxnSpPr>
        <p:spPr bwMode="auto">
          <a:xfrm>
            <a:off x="6271062" y="138535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Прямая соединительная линия 17"/>
          <p:cNvCxnSpPr/>
          <p:nvPr/>
        </p:nvCxnSpPr>
        <p:spPr bwMode="auto">
          <a:xfrm flipV="1">
            <a:off x="2458803" y="138535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Прямая со стрелкой 18"/>
          <p:cNvCxnSpPr/>
          <p:nvPr/>
        </p:nvCxnSpPr>
        <p:spPr bwMode="auto">
          <a:xfrm>
            <a:off x="2462415" y="138535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Прямоугольник 19"/>
          <p:cNvSpPr/>
          <p:nvPr/>
        </p:nvSpPr>
        <p:spPr>
          <a:xfrm>
            <a:off x="66675" y="222941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994989" y="223126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1119" y="256960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1119" y="291884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</a:t>
            </a:r>
            <a:endParaRPr lang="ru-RU" sz="2000" b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964896" y="291884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выравнивание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825868" y="719288"/>
            <a:ext cx="14589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2016 год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825867" y="3589337"/>
            <a:ext cx="14589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2017 год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885661" y="464658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056861" y="406514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01589" y="42959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285354" y="42959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473095" y="42959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476707" y="42959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0967" y="514003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009281" y="514188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5411" y="548022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5411" y="582946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</a:t>
            </a:r>
            <a:endParaRPr lang="ru-RU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83421" y="232072"/>
            <a:ext cx="8407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6 – 2017 ГГ.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2522" y="6169654"/>
            <a:ext cx="28578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РФФПП</a:t>
            </a:r>
            <a:endParaRPr lang="ru-RU" sz="20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109119" y="6364512"/>
            <a:ext cx="3276600" cy="19693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385719" y="5700393"/>
            <a:ext cx="0" cy="647495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оугольник 37"/>
          <p:cNvSpPr/>
          <p:nvPr/>
        </p:nvSpPr>
        <p:spPr>
          <a:xfrm>
            <a:off x="1898623" y="4638025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  <p:sp>
        <p:nvSpPr>
          <p:cNvPr id="41" name="Номер слайда 1"/>
          <p:cNvSpPr txBox="1">
            <a:spLocks/>
          </p:cNvSpPr>
          <p:nvPr/>
        </p:nvSpPr>
        <p:spPr bwMode="auto">
          <a:xfrm>
            <a:off x="6914630" y="6527612"/>
            <a:ext cx="1866900" cy="180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5517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619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69722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6825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516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2618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199722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6824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sz="1176" dirty="0" smtClean="0"/>
              <a:t>5</a:t>
            </a:r>
            <a:endParaRPr lang="en-US" sz="1176" dirty="0"/>
          </a:p>
        </p:txBody>
      </p:sp>
    </p:spTree>
    <p:extLst>
      <p:ext uri="{BB962C8B-B14F-4D97-AF65-F5344CB8AC3E}">
        <p14:creationId xmlns:p14="http://schemas.microsoft.com/office/powerpoint/2010/main" val="151835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3911825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6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870700" y="3910237"/>
            <a:ext cx="1866900" cy="18415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5885661" y="228438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056861" y="170294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01589" y="19337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285354" y="19337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473095" y="19337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476707" y="19337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0967" y="277783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009281" y="277968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5411" y="311802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5411" y="346726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выравнивание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962056" y="311778"/>
            <a:ext cx="73802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8 Г.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2522" y="3807454"/>
            <a:ext cx="378302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</a:t>
            </a:r>
            <a:r>
              <a:rPr lang="ru-RU" sz="2000" b="1" dirty="0">
                <a:solidFill>
                  <a:srgbClr val="FF0000"/>
                </a:solidFill>
              </a:rPr>
              <a:t>выравнивание</a:t>
            </a:r>
          </a:p>
          <a:p>
            <a:r>
              <a:rPr lang="ru-RU" sz="2000" b="1" dirty="0" smtClean="0">
                <a:solidFill>
                  <a:srgbClr val="FF0000"/>
                </a:solidFill>
              </a:rPr>
              <a:t>поселений</a:t>
            </a:r>
            <a:endParaRPr lang="ru-RU" sz="20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013869" y="4352829"/>
            <a:ext cx="3276600" cy="19693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290469" y="3318080"/>
            <a:ext cx="0" cy="1026609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35363" y="84454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75411" y="3686369"/>
            <a:ext cx="3981449" cy="0"/>
          </a:xfrm>
          <a:prstGeom prst="line">
            <a:avLst/>
          </a:prstGeom>
          <a:noFill/>
          <a:ln w="1905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Прямоугольник 21"/>
          <p:cNvSpPr/>
          <p:nvPr/>
        </p:nvSpPr>
        <p:spPr>
          <a:xfrm>
            <a:off x="1846181" y="2232053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  <p:sp>
        <p:nvSpPr>
          <p:cNvPr id="21" name="Номер слайда 1"/>
          <p:cNvSpPr txBox="1">
            <a:spLocks/>
          </p:cNvSpPr>
          <p:nvPr/>
        </p:nvSpPr>
        <p:spPr bwMode="auto">
          <a:xfrm>
            <a:off x="6914630" y="6527612"/>
            <a:ext cx="1866900" cy="180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5517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619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69722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6825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516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2618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199722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6824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ru-RU" sz="1176" dirty="0" smtClean="0"/>
              <a:t>6</a:t>
            </a:r>
            <a:endParaRPr lang="en-US" sz="1176" dirty="0"/>
          </a:p>
        </p:txBody>
      </p:sp>
    </p:spTree>
    <p:extLst>
      <p:ext uri="{BB962C8B-B14F-4D97-AF65-F5344CB8AC3E}">
        <p14:creationId xmlns:p14="http://schemas.microsoft.com/office/powerpoint/2010/main" val="518060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371" y="198"/>
          <a:ext cx="156184" cy="155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074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1" y="198"/>
                        <a:ext cx="156184" cy="155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1" y="198"/>
            <a:ext cx="156184" cy="155894"/>
          </a:xfrm>
          <a:prstGeom prst="rect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algn="ctr" defTabSz="894407">
              <a:defRPr/>
            </a:pPr>
            <a:endParaRPr lang="ru-RU" sz="1176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sym typeface="Arial"/>
            </a:endParaRPr>
          </a:p>
        </p:txBody>
      </p:sp>
      <p:sp>
        <p:nvSpPr>
          <p:cNvPr id="307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" y="322832"/>
            <a:ext cx="8833417" cy="301632"/>
          </a:xfrm>
        </p:spPr>
        <p:txBody>
          <a:bodyPr/>
          <a:lstStyle/>
          <a:p>
            <a:pPr algn="ctr">
              <a:defRPr/>
            </a:pPr>
            <a:r>
              <a:rPr lang="ru-RU" sz="196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ЪЕМ МЕЖБЮДЖЕТНЫХ ТРАНСФЕРТОВ НА 2018 ГОД</a:t>
            </a:r>
          </a:p>
        </p:txBody>
      </p:sp>
      <p:sp>
        <p:nvSpPr>
          <p:cNvPr id="4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914630" y="6527612"/>
            <a:ext cx="1866900" cy="180979"/>
          </a:xfrm>
        </p:spPr>
        <p:txBody>
          <a:bodyPr/>
          <a:lstStyle/>
          <a:p>
            <a:pPr>
              <a:defRPr/>
            </a:pPr>
            <a:fld id="{B965D4D1-B809-4E92-9A64-4E9C36348394}" type="slidenum">
              <a:rPr lang="en-US" sz="1176"/>
              <a:pPr>
                <a:defRPr/>
              </a:pPr>
              <a:t>7</a:t>
            </a:fld>
            <a:endParaRPr lang="en-US" sz="1176" dirty="0"/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0622018"/>
              </p:ext>
            </p:extLst>
          </p:nvPr>
        </p:nvGraphicFramePr>
        <p:xfrm>
          <a:off x="187066" y="998994"/>
          <a:ext cx="8774372" cy="22030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3" name="Лист" r:id="rId9" imgW="7134211" imgH="1752570" progId="Excel.Sheet.12">
                  <p:embed/>
                </p:oleObj>
              </mc:Choice>
              <mc:Fallback>
                <p:oleObj name="Лист" r:id="rId9" imgW="7134211" imgH="1752570" progId="Excel.Sheet.12">
                  <p:embed/>
                  <p:pic>
                    <p:nvPicPr>
                      <p:cNvPr id="8" name="Объект 7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7066" y="998994"/>
                        <a:ext cx="8774372" cy="22030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15401413"/>
              </p:ext>
            </p:extLst>
          </p:nvPr>
        </p:nvGraphicFramePr>
        <p:xfrm>
          <a:off x="187065" y="3285934"/>
          <a:ext cx="8774373" cy="16087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" name="Лист" r:id="rId11" imgW="7162845" imgH="1276290" progId="Excel.Sheet.12">
                  <p:embed/>
                </p:oleObj>
              </mc:Choice>
              <mc:Fallback>
                <p:oleObj name="Лист" r:id="rId11" imgW="7162845" imgH="1276290" progId="Excel.Sheet.12">
                  <p:embed/>
                  <p:pic>
                    <p:nvPicPr>
                      <p:cNvPr id="9" name="Объект 8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87065" y="3285934"/>
                        <a:ext cx="8774373" cy="16087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Объект 10"/>
          <p:cNvGraphicFramePr>
            <a:graphicFrameLocks noChangeAspect="1"/>
          </p:cNvGraphicFramePr>
          <p:nvPr>
            <p:extLst/>
          </p:nvPr>
        </p:nvGraphicFramePr>
        <p:xfrm>
          <a:off x="187064" y="4984998"/>
          <a:ext cx="8658056" cy="4434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5" name="Лист" r:id="rId13" imgW="6877044" imgH="352350" progId="Excel.Sheet.12">
                  <p:embed/>
                </p:oleObj>
              </mc:Choice>
              <mc:Fallback>
                <p:oleObj name="Лист" r:id="rId13" imgW="6877044" imgH="352350" progId="Excel.Sheet.12">
                  <p:embed/>
                  <p:pic>
                    <p:nvPicPr>
                      <p:cNvPr id="11" name="Объект 10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7064" y="4984998"/>
                        <a:ext cx="8658056" cy="4434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Объект 13"/>
          <p:cNvGraphicFramePr>
            <a:graphicFrameLocks noChangeAspect="1"/>
          </p:cNvGraphicFramePr>
          <p:nvPr>
            <p:extLst/>
          </p:nvPr>
        </p:nvGraphicFramePr>
        <p:xfrm>
          <a:off x="187064" y="5583984"/>
          <a:ext cx="8658056" cy="444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6" name="Лист" r:id="rId15" imgW="6867590" imgH="352350" progId="Excel.Sheet.12">
                  <p:embed/>
                </p:oleObj>
              </mc:Choice>
              <mc:Fallback>
                <p:oleObj name="Лист" r:id="rId15" imgW="6867590" imgH="352350" progId="Excel.Sheet.12">
                  <p:embed/>
                  <p:pic>
                    <p:nvPicPr>
                      <p:cNvPr id="14" name="Объект 13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7064" y="5583984"/>
                        <a:ext cx="8658056" cy="4449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Овал 36"/>
          <p:cNvSpPr>
            <a:spLocks noChangeArrowheads="1"/>
          </p:cNvSpPr>
          <p:nvPr/>
        </p:nvSpPr>
        <p:spPr bwMode="auto">
          <a:xfrm>
            <a:off x="5606801" y="5583983"/>
            <a:ext cx="870539" cy="474045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sp>
        <p:nvSpPr>
          <p:cNvPr id="27" name="Овал 36"/>
          <p:cNvSpPr>
            <a:spLocks noChangeArrowheads="1"/>
          </p:cNvSpPr>
          <p:nvPr/>
        </p:nvSpPr>
        <p:spPr bwMode="auto">
          <a:xfrm>
            <a:off x="7314211" y="5583983"/>
            <a:ext cx="825391" cy="474047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sp>
        <p:nvSpPr>
          <p:cNvPr id="28" name="Прямая соединительная линия 8"/>
          <p:cNvSpPr>
            <a:spLocks noChangeShapeType="1"/>
          </p:cNvSpPr>
          <p:nvPr/>
        </p:nvSpPr>
        <p:spPr bwMode="auto">
          <a:xfrm>
            <a:off x="122399" y="659204"/>
            <a:ext cx="8507142" cy="1555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>
              <a:defRPr/>
            </a:pPr>
            <a:endParaRPr lang="ru-RU" sz="1176" dirty="0">
              <a:solidFill>
                <a:schemeClr val="accent6">
                  <a:lumMod val="50000"/>
                </a:schemeClr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41764" y="622409"/>
            <a:ext cx="1002197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76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лн. рублей</a:t>
            </a:r>
            <a:r>
              <a:rPr lang="ru-RU" sz="1176" i="1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176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8143571" y="3226454"/>
            <a:ext cx="30489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!</a:t>
            </a:r>
            <a:endParaRPr lang="ru-RU" sz="2800" b="1" dirty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76655" y="3639080"/>
            <a:ext cx="3129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*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49762" y="5999631"/>
            <a:ext cx="67225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28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пределено 850 млн. рублей. Нераспределенный резерв – 347 млн. рублей.</a:t>
            </a:r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494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754982" y="169701"/>
            <a:ext cx="5600765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ФИНАНСОВЫЕ РЕСУРСЫ</a:t>
            </a:r>
            <a:endParaRPr lang="ru-RU" sz="2400" b="1" dirty="0" smtClean="0">
              <a:solidFill>
                <a:srgbClr val="FF0000"/>
              </a:solidFill>
            </a:endParaRPr>
          </a:p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МО БАЛАГАНСКОГО РАЙОНА </a:t>
            </a:r>
          </a:p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ЗА </a:t>
            </a:r>
            <a:r>
              <a:rPr lang="ru-RU" sz="2400" b="1" dirty="0">
                <a:solidFill>
                  <a:schemeClr val="accent6">
                    <a:lumMod val="50000"/>
                  </a:schemeClr>
                </a:solidFill>
              </a:rPr>
              <a:t>СЧЕТ СРЕДСТВ ОБ </a:t>
            </a:r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В 2018 ГОДУ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00625" y="1388444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518587" y="14997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615783" y="4903791"/>
            <a:ext cx="40137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В 2018 </a:t>
            </a:r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ГОДУ </a:t>
            </a:r>
            <a:r>
              <a:rPr lang="ru-RU" sz="1800" b="1" dirty="0" smtClean="0">
                <a:solidFill>
                  <a:srgbClr val="FF0000"/>
                </a:solidFill>
              </a:rPr>
              <a:t>+ 1 718 ТЫС. РУБЛЕЙ </a:t>
            </a:r>
            <a:endParaRPr lang="ru-RU" sz="1800" dirty="0">
              <a:solidFill>
                <a:srgbClr val="FF0000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00625" y="6027737"/>
            <a:ext cx="8471094" cy="0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Прямоугольник 10"/>
          <p:cNvSpPr/>
          <p:nvPr/>
        </p:nvSpPr>
        <p:spPr>
          <a:xfrm>
            <a:off x="518319" y="3872178"/>
            <a:ext cx="7470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</a:rPr>
              <a:t>НАЛОГ ПО УПРОЩЕННОЙ СИСТЕМЕ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НАЛОГООБЛОЖЕНИЯ ПОСТУПАЕТ В БЮДЖЕТ РАЙОНА И ВЛИЯЕТ НА РАЗМЕР РФФПП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0625" y="6100960"/>
            <a:ext cx="26036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* ПЕРВОНАЧАЛЬНЫЙ БЮДЖЕТ</a:t>
            </a:r>
            <a:endParaRPr lang="ru-RU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8269434"/>
              </p:ext>
            </p:extLst>
          </p:nvPr>
        </p:nvGraphicFramePr>
        <p:xfrm>
          <a:off x="197636" y="1907110"/>
          <a:ext cx="8572127" cy="15638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4" name="Лист" r:id="rId4" imgW="4229201" imgH="771660" progId="Excel.Sheet.12">
                  <p:embed/>
                </p:oleObj>
              </mc:Choice>
              <mc:Fallback>
                <p:oleObj name="Лист" r:id="rId4" imgW="4229201" imgH="7716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636" y="1907110"/>
                        <a:ext cx="8572127" cy="15638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4880769" y="1979104"/>
            <a:ext cx="3241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FF0000"/>
                </a:solidFill>
              </a:rPr>
              <a:t>*</a:t>
            </a:r>
            <a:endParaRPr lang="ru-RU" sz="2800" dirty="0"/>
          </a:p>
        </p:txBody>
      </p:sp>
      <p:sp>
        <p:nvSpPr>
          <p:cNvPr id="6" name="Стрелка вниз 5"/>
          <p:cNvSpPr/>
          <p:nvPr/>
        </p:nvSpPr>
        <p:spPr bwMode="auto">
          <a:xfrm>
            <a:off x="3947319" y="4530175"/>
            <a:ext cx="488853" cy="328012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645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E6oLmM.Uapny3usfQP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37328</TotalTime>
  <Words>871</Words>
  <Application>Microsoft Office PowerPoint</Application>
  <PresentationFormat>Произвольный</PresentationFormat>
  <Paragraphs>180</Paragraphs>
  <Slides>19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7" baseType="lpstr">
      <vt:lpstr>Arial</vt:lpstr>
      <vt:lpstr>Calibri</vt:lpstr>
      <vt:lpstr>Times New Roman</vt:lpstr>
      <vt:lpstr>Wingdings</vt:lpstr>
      <vt:lpstr>Universal Template_RU</vt:lpstr>
      <vt:lpstr>2_Universal Template_RU</vt:lpstr>
      <vt:lpstr>think-cell Slide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ЪЕМ МЕЖБЮДЖЕТНЫХ ТРАНСФЕРТОВ НА 2018 ГО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ДХОДЫ ПРИ РАСПРЕДЕЛЕНИИ  СУБСИДИИ «ЗА ЭФФЕКТИВНОСТЬ» В 2018 ГОДУ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Байбурова И.Н.</cp:lastModifiedBy>
  <cp:revision>2442</cp:revision>
  <cp:lastPrinted>2017-12-15T02:05:35Z</cp:lastPrinted>
  <dcterms:created xsi:type="dcterms:W3CDTF">2006-03-07T14:01:06Z</dcterms:created>
  <dcterms:modified xsi:type="dcterms:W3CDTF">2018-02-06T03:17:28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